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9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EC-4A98-801B-F976FA7322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91404655"/>
        <c:axId val="191433935"/>
      </c:barChart>
      <c:catAx>
        <c:axId val="19140465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33935"/>
        <c:crosses val="autoZero"/>
        <c:auto val="1"/>
        <c:lblAlgn val="ctr"/>
        <c:lblOffset val="100"/>
        <c:noMultiLvlLbl val="0"/>
      </c:catAx>
      <c:valAx>
        <c:axId val="191433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04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91-48D9-B57E-D31E7201D8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91404655"/>
        <c:axId val="191433935"/>
      </c:barChart>
      <c:catAx>
        <c:axId val="19140465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33935"/>
        <c:crosses val="autoZero"/>
        <c:auto val="1"/>
        <c:lblAlgn val="ctr"/>
        <c:lblOffset val="100"/>
        <c:noMultiLvlLbl val="0"/>
      </c:catAx>
      <c:valAx>
        <c:axId val="191433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04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1C1C14-DFCE-F0A4-E858-7C4775AA82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14FB2B-BFFF-7E58-84B6-69A1830CFE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14FB2B-BFFF-7E58-84B6-69A1830CF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8B3D94D6-B8F2-8356-671E-B2759DAF4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Bar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D595231-30E7-8D16-C75F-50D6D10E7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CCD27E5-FB51-C680-CCE6-D9CEDCC8A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5D45185-1E38-2984-D069-A6F58273F2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29A5D59-D5AC-5F8E-2F48-19C2DCBF56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EE811DF3-325C-DFB1-A5AB-0FFF60B4A81D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Placeholder 6">
            <a:extLst>
              <a:ext uri="{FF2B5EF4-FFF2-40B4-BE49-F238E27FC236}">
                <a16:creationId xmlns:a16="http://schemas.microsoft.com/office/drawing/2014/main" id="{734DC050-811D-41A3-7D9B-6284D1533B4A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02024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5</TotalTime>
  <Words>20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Bar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21</cp:revision>
  <dcterms:created xsi:type="dcterms:W3CDTF">2025-07-09T10:57:17Z</dcterms:created>
  <dcterms:modified xsi:type="dcterms:W3CDTF">2025-10-22T10:00:41Z</dcterms:modified>
  <cp:category/>
</cp:coreProperties>
</file>